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086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A5C"/>
    <a:srgbClr val="2683C6"/>
    <a:srgbClr val="FF3902"/>
    <a:srgbClr val="2B4871"/>
    <a:srgbClr val="FF8867"/>
    <a:srgbClr val="05BADD"/>
    <a:srgbClr val="FEF1DA"/>
    <a:srgbClr val="FFB404"/>
    <a:srgbClr val="F2F2F2"/>
    <a:srgbClr val="FF8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468" y="96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4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C448E-F1E7-1AAF-02B4-CCDFE06164CF}"/>
              </a:ext>
            </a:extLst>
          </p:cNvPr>
          <p:cNvCxnSpPr/>
          <p:nvPr userDrawn="1"/>
        </p:nvCxnSpPr>
        <p:spPr>
          <a:xfrm>
            <a:off x="419099" y="841797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2E9697-A7C6-1EB8-2AB7-4229CFB6AB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think-cell data - do not delete" hidden="1">
            <a:extLst>
              <a:ext uri="{FF2B5EF4-FFF2-40B4-BE49-F238E27FC236}">
                <a16:creationId xmlns:a16="http://schemas.microsoft.com/office/drawing/2014/main" id="{60F7E658-0F29-BABC-4D84-A0A96ADE2C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0F7E658-0F29-BABC-4D84-A0A96ADE2C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AB563F2-4DA2-17DB-40F9-0A4F2454EA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Ide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72332D1-AF8A-6119-C7EC-E4980A9424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B247E71B-D11D-4914-8F4B-02F288B64C39}"/>
              </a:ext>
            </a:extLst>
          </p:cNvPr>
          <p:cNvSpPr/>
          <p:nvPr/>
        </p:nvSpPr>
        <p:spPr>
          <a:xfrm flipH="1">
            <a:off x="9265041" y="4412575"/>
            <a:ext cx="504631" cy="121964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endParaRPr lang="en-US" sz="2400" dirty="0" err="1">
              <a:solidFill>
                <a:schemeClr val="tx1"/>
              </a:solidFill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91D93241-6EB8-002E-0BD2-7A5D4BAD944B}"/>
              </a:ext>
            </a:extLst>
          </p:cNvPr>
          <p:cNvSpPr/>
          <p:nvPr/>
        </p:nvSpPr>
        <p:spPr>
          <a:xfrm>
            <a:off x="9887053" y="3775501"/>
            <a:ext cx="1396116" cy="1396115"/>
          </a:xfrm>
          <a:prstGeom prst="ellipse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Insert heading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AFB59650-213A-9A92-18B3-0B1A6CB32F83}"/>
              </a:ext>
            </a:extLst>
          </p:cNvPr>
          <p:cNvSpPr/>
          <p:nvPr/>
        </p:nvSpPr>
        <p:spPr>
          <a:xfrm rot="18909752" flipH="1">
            <a:off x="8898137" y="3338366"/>
            <a:ext cx="463622" cy="121964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endParaRPr lang="en-US" sz="2400" dirty="0" err="1">
              <a:solidFill>
                <a:schemeClr val="tx1"/>
              </a:solidFill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6EBC7944-835F-5522-F130-990C32A02053}"/>
              </a:ext>
            </a:extLst>
          </p:cNvPr>
          <p:cNvSpPr/>
          <p:nvPr/>
        </p:nvSpPr>
        <p:spPr>
          <a:xfrm>
            <a:off x="9186579" y="1988995"/>
            <a:ext cx="1396116" cy="1396115"/>
          </a:xfrm>
          <a:prstGeom prst="ellipse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Insert heading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73CBAEA5-6144-3C6D-7B9E-BDBF214DBFC0}"/>
              </a:ext>
            </a:extLst>
          </p:cNvPr>
          <p:cNvSpPr/>
          <p:nvPr/>
        </p:nvSpPr>
        <p:spPr>
          <a:xfrm rot="16200000" flipH="1">
            <a:off x="7809416" y="2851897"/>
            <a:ext cx="463622" cy="121964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endParaRPr lang="en-US" sz="2400" dirty="0" err="1">
              <a:solidFill>
                <a:schemeClr val="tx1"/>
              </a:solidFill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B97D1F56-3D45-ABC3-34C1-2EF1BD4071F9}"/>
              </a:ext>
            </a:extLst>
          </p:cNvPr>
          <p:cNvSpPr/>
          <p:nvPr/>
        </p:nvSpPr>
        <p:spPr>
          <a:xfrm>
            <a:off x="7330254" y="1195548"/>
            <a:ext cx="1396116" cy="1396115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Insert heading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CB6D9EEB-E7DA-E93E-E764-EC0BF85568CA}"/>
              </a:ext>
            </a:extLst>
          </p:cNvPr>
          <p:cNvSpPr/>
          <p:nvPr/>
        </p:nvSpPr>
        <p:spPr>
          <a:xfrm>
            <a:off x="6347377" y="4412577"/>
            <a:ext cx="504631" cy="121964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endParaRPr lang="en-US" sz="2400" dirty="0" err="1">
              <a:solidFill>
                <a:schemeClr val="tx1"/>
              </a:solidFill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FB5A03D6-9E31-AF28-0B1C-02B36C3FEC33}"/>
              </a:ext>
            </a:extLst>
          </p:cNvPr>
          <p:cNvSpPr/>
          <p:nvPr/>
        </p:nvSpPr>
        <p:spPr>
          <a:xfrm flipH="1">
            <a:off x="4833880" y="3775503"/>
            <a:ext cx="1396116" cy="1396115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Insert heading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9812D170-7A11-9ABC-A990-26D5AD06D9F3}"/>
              </a:ext>
            </a:extLst>
          </p:cNvPr>
          <p:cNvSpPr/>
          <p:nvPr/>
        </p:nvSpPr>
        <p:spPr>
          <a:xfrm rot="2690248">
            <a:off x="6755291" y="3338368"/>
            <a:ext cx="463622" cy="121964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endParaRPr lang="en-US" sz="2400" dirty="0" err="1">
              <a:solidFill>
                <a:schemeClr val="tx1"/>
              </a:solidFill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CB85A79A-7A9E-20DD-0329-48AB5C67A4FC}"/>
              </a:ext>
            </a:extLst>
          </p:cNvPr>
          <p:cNvSpPr/>
          <p:nvPr/>
        </p:nvSpPr>
        <p:spPr>
          <a:xfrm flipH="1">
            <a:off x="5534353" y="1988996"/>
            <a:ext cx="1396116" cy="1396115"/>
          </a:xfrm>
          <a:prstGeom prst="ellipse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Insert heading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C2FFE367-9DBF-B30A-162E-01BF10C9798C}"/>
              </a:ext>
            </a:extLst>
          </p:cNvPr>
          <p:cNvGrpSpPr/>
          <p:nvPr/>
        </p:nvGrpSpPr>
        <p:grpSpPr>
          <a:xfrm>
            <a:off x="7087598" y="3399346"/>
            <a:ext cx="1907254" cy="2739447"/>
            <a:chOff x="5328882" y="2549454"/>
            <a:chExt cx="1433988" cy="2059681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5E6FE36A-6E6A-BCB8-46DE-988489F3FB1C}"/>
                </a:ext>
              </a:extLst>
            </p:cNvPr>
            <p:cNvSpPr txBox="1"/>
            <p:nvPr/>
          </p:nvSpPr>
          <p:spPr>
            <a:xfrm flipH="1">
              <a:off x="5538228" y="2879069"/>
              <a:ext cx="1041309" cy="707886"/>
            </a:xfrm>
            <a:prstGeom prst="rect">
              <a:avLst/>
            </a:prstGeom>
            <a:noFill/>
          </p:spPr>
          <p:txBody>
            <a:bodyPr wrap="square" rtlCol="0" anchor="ctr" anchorCtr="1">
              <a:noAutofit/>
            </a:bodyPr>
            <a:lstStyle/>
            <a:p>
              <a:pPr algn="ctr"/>
              <a:r>
                <a:rPr lang="en-US" sz="2400" b="1" dirty="0"/>
                <a:t>Insert heading</a:t>
              </a:r>
            </a:p>
          </p:txBody>
        </p:sp>
        <p:sp>
          <p:nvSpPr>
            <p:cNvPr id="18" name="Arc 17">
              <a:extLst>
                <a:ext uri="{FF2B5EF4-FFF2-40B4-BE49-F238E27FC236}">
                  <a16:creationId xmlns:a16="http://schemas.microsoft.com/office/drawing/2014/main" id="{DD1449B7-DB12-B6C7-04F8-EE18C21DA950}"/>
                </a:ext>
              </a:extLst>
            </p:cNvPr>
            <p:cNvSpPr/>
            <p:nvPr/>
          </p:nvSpPr>
          <p:spPr>
            <a:xfrm>
              <a:off x="5328882" y="2549454"/>
              <a:ext cx="1433988" cy="1433987"/>
            </a:xfrm>
            <a:prstGeom prst="arc">
              <a:avLst>
                <a:gd name="adj1" fmla="val 7836615"/>
                <a:gd name="adj2" fmla="val 2950439"/>
              </a:avLst>
            </a:prstGeom>
            <a:ln w="1270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 anchorCtr="1"/>
            <a:lstStyle/>
            <a:p>
              <a:pPr algn="ctr"/>
              <a:endParaRPr lang="en-US" sz="2400"/>
            </a:p>
          </p:txBody>
        </p:sp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21CC5D94-C685-BA5E-EEFB-504702D9BF61}"/>
                </a:ext>
              </a:extLst>
            </p:cNvPr>
            <p:cNvSpPr/>
            <p:nvPr/>
          </p:nvSpPr>
          <p:spPr>
            <a:xfrm rot="2684411">
              <a:off x="5423984" y="3707222"/>
              <a:ext cx="227048" cy="119972"/>
            </a:xfrm>
            <a:prstGeom prst="roundRect">
              <a:avLst>
                <a:gd name="adj" fmla="val 50000"/>
              </a:avLst>
            </a:prstGeom>
            <a:solidFill>
              <a:schemeClr val="accent6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1"/>
            <a:lstStyle/>
            <a:p>
              <a:pPr algn="ctr"/>
              <a:endParaRPr lang="en-US" sz="2400" dirty="0" err="1">
                <a:solidFill>
                  <a:schemeClr val="tx1"/>
                </a:solidFill>
              </a:endParaRPr>
            </a:p>
          </p:txBody>
        </p:sp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D79657B6-600A-BEC2-41DF-F53FC4BDC989}"/>
                </a:ext>
              </a:extLst>
            </p:cNvPr>
            <p:cNvSpPr/>
            <p:nvPr/>
          </p:nvSpPr>
          <p:spPr>
            <a:xfrm rot="18915589" flipH="1">
              <a:off x="6423656" y="3729367"/>
              <a:ext cx="227048" cy="118784"/>
            </a:xfrm>
            <a:prstGeom prst="roundRect">
              <a:avLst>
                <a:gd name="adj" fmla="val 50000"/>
              </a:avLst>
            </a:prstGeom>
            <a:solidFill>
              <a:schemeClr val="accent6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1"/>
            <a:lstStyle/>
            <a:p>
              <a:pPr algn="ctr"/>
              <a:endParaRPr lang="en-US" sz="2400" dirty="0" err="1">
                <a:solidFill>
                  <a:schemeClr val="tx1"/>
                </a:solidFill>
              </a:endParaRPr>
            </a:p>
          </p:txBody>
        </p:sp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550E5C00-8A9D-DC22-865F-B3678F3DA2BD}"/>
                </a:ext>
              </a:extLst>
            </p:cNvPr>
            <p:cNvSpPr/>
            <p:nvPr/>
          </p:nvSpPr>
          <p:spPr>
            <a:xfrm flipH="1">
              <a:off x="5653772" y="3882904"/>
              <a:ext cx="764793" cy="146390"/>
            </a:xfrm>
            <a:prstGeom prst="roundRect">
              <a:avLst>
                <a:gd name="adj" fmla="val 50000"/>
              </a:avLst>
            </a:prstGeom>
            <a:solidFill>
              <a:schemeClr val="accent6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1"/>
            <a:lstStyle/>
            <a:p>
              <a:pPr algn="ctr"/>
              <a:endParaRPr lang="en-US" sz="2400" dirty="0" err="1">
                <a:solidFill>
                  <a:schemeClr val="tx1"/>
                </a:solidFill>
              </a:endParaRPr>
            </a:p>
          </p:txBody>
        </p:sp>
        <p:sp>
          <p:nvSpPr>
            <p:cNvPr id="22" name="Rectangle: Rounded Corners 21">
              <a:extLst>
                <a:ext uri="{FF2B5EF4-FFF2-40B4-BE49-F238E27FC236}">
                  <a16:creationId xmlns:a16="http://schemas.microsoft.com/office/drawing/2014/main" id="{229D1F48-4C0B-FECF-0559-B7B6BA594882}"/>
                </a:ext>
              </a:extLst>
            </p:cNvPr>
            <p:cNvSpPr/>
            <p:nvPr/>
          </p:nvSpPr>
          <p:spPr>
            <a:xfrm flipH="1">
              <a:off x="5653772" y="4063651"/>
              <a:ext cx="764793" cy="146390"/>
            </a:xfrm>
            <a:prstGeom prst="roundRect">
              <a:avLst>
                <a:gd name="adj" fmla="val 50000"/>
              </a:avLst>
            </a:prstGeom>
            <a:solidFill>
              <a:schemeClr val="accent6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1"/>
            <a:lstStyle/>
            <a:p>
              <a:pPr algn="ctr"/>
              <a:endParaRPr lang="en-US" sz="2400" dirty="0" err="1">
                <a:solidFill>
                  <a:schemeClr val="tx1"/>
                </a:solidFill>
              </a:endParaRPr>
            </a:p>
          </p:txBody>
        </p:sp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65A71138-614E-9734-0033-4FFB26B9CCBA}"/>
                </a:ext>
              </a:extLst>
            </p:cNvPr>
            <p:cNvSpPr/>
            <p:nvPr/>
          </p:nvSpPr>
          <p:spPr>
            <a:xfrm flipH="1">
              <a:off x="5653772" y="4244400"/>
              <a:ext cx="764793" cy="146390"/>
            </a:xfrm>
            <a:prstGeom prst="roundRect">
              <a:avLst>
                <a:gd name="adj" fmla="val 50000"/>
              </a:avLst>
            </a:prstGeom>
            <a:solidFill>
              <a:schemeClr val="accent6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1"/>
            <a:lstStyle/>
            <a:p>
              <a:pPr algn="ctr"/>
              <a:endParaRPr lang="en-US" sz="2400" dirty="0" err="1">
                <a:solidFill>
                  <a:schemeClr val="tx1"/>
                </a:solidFill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3E5981A9-9744-A101-BAB2-D33DDB28BA98}"/>
                </a:ext>
              </a:extLst>
            </p:cNvPr>
            <p:cNvSpPr/>
            <p:nvPr/>
          </p:nvSpPr>
          <p:spPr>
            <a:xfrm rot="5400000" flipH="1">
              <a:off x="5953882" y="4275156"/>
              <a:ext cx="183989" cy="483970"/>
            </a:xfrm>
            <a:custGeom>
              <a:avLst/>
              <a:gdLst>
                <a:gd name="connsiteX0" fmla="*/ 146654 w 146654"/>
                <a:gd name="connsiteY0" fmla="*/ 384158 h 385762"/>
                <a:gd name="connsiteX1" fmla="*/ 142014 w 146654"/>
                <a:gd name="connsiteY1" fmla="*/ 361175 h 385762"/>
                <a:gd name="connsiteX2" fmla="*/ 142014 w 146654"/>
                <a:gd name="connsiteY2" fmla="*/ 668 h 385762"/>
                <a:gd name="connsiteX3" fmla="*/ 138708 w 146654"/>
                <a:gd name="connsiteY3" fmla="*/ 0 h 385762"/>
                <a:gd name="connsiteX4" fmla="*/ 0 w 146654"/>
                <a:gd name="connsiteY4" fmla="*/ 138708 h 385762"/>
                <a:gd name="connsiteX5" fmla="*/ 0 w 146654"/>
                <a:gd name="connsiteY5" fmla="*/ 247054 h 385762"/>
                <a:gd name="connsiteX6" fmla="*/ 138708 w 146654"/>
                <a:gd name="connsiteY6" fmla="*/ 385762 h 385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6654" h="385762">
                  <a:moveTo>
                    <a:pt x="146654" y="384158"/>
                  </a:moveTo>
                  <a:lnTo>
                    <a:pt x="142014" y="361175"/>
                  </a:lnTo>
                  <a:lnTo>
                    <a:pt x="142014" y="668"/>
                  </a:lnTo>
                  <a:lnTo>
                    <a:pt x="138708" y="0"/>
                  </a:lnTo>
                  <a:cubicBezTo>
                    <a:pt x="62102" y="0"/>
                    <a:pt x="0" y="62102"/>
                    <a:pt x="0" y="138708"/>
                  </a:cubicBezTo>
                  <a:lnTo>
                    <a:pt x="0" y="247054"/>
                  </a:lnTo>
                  <a:cubicBezTo>
                    <a:pt x="0" y="323660"/>
                    <a:pt x="62102" y="385762"/>
                    <a:pt x="138708" y="385762"/>
                  </a:cubicBezTo>
                  <a:close/>
                </a:path>
              </a:pathLst>
            </a:custGeom>
            <a:solidFill>
              <a:schemeClr val="accent6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1"/>
            <a:lstStyle/>
            <a:p>
              <a:pPr algn="ctr"/>
              <a:endParaRPr lang="en-US" sz="24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7676C29B-84EA-98EA-F204-3984EA3D76BB}"/>
              </a:ext>
            </a:extLst>
          </p:cNvPr>
          <p:cNvSpPr txBox="1"/>
          <p:nvPr/>
        </p:nvSpPr>
        <p:spPr>
          <a:xfrm flipH="1">
            <a:off x="878671" y="1841029"/>
            <a:ext cx="3597749" cy="3652282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spcBef>
                <a:spcPts val="1596"/>
              </a:spcBef>
            </a:pPr>
            <a:r>
              <a:rPr lang="en-US" b="1" dirty="0">
                <a:solidFill>
                  <a:schemeClr val="tx2"/>
                </a:solidFill>
              </a:rPr>
              <a:t>Heading</a:t>
            </a:r>
          </a:p>
          <a:p>
            <a:pPr marL="290822" indent="-290822">
              <a:spcBef>
                <a:spcPts val="1596"/>
              </a:spcBef>
              <a:buFont typeface="Arial" panose="020B0604020202020204" pitchFamily="34" charset="0"/>
              <a:buChar char="•"/>
            </a:pPr>
            <a:r>
              <a:rPr lang="en-US" dirty="0"/>
              <a:t>Insert your text here</a:t>
            </a:r>
          </a:p>
          <a:p>
            <a:pPr marL="290822" indent="-290822">
              <a:spcBef>
                <a:spcPts val="1596"/>
              </a:spcBef>
              <a:buFont typeface="Arial" panose="020B0604020202020204" pitchFamily="34" charset="0"/>
              <a:buChar char="•"/>
            </a:pPr>
            <a:r>
              <a:rPr lang="en-US" dirty="0"/>
              <a:t>Insert your text here</a:t>
            </a:r>
          </a:p>
          <a:p>
            <a:pPr marL="290822" indent="-290822">
              <a:spcBef>
                <a:spcPts val="1596"/>
              </a:spcBef>
              <a:buFont typeface="Arial" panose="020B0604020202020204" pitchFamily="34" charset="0"/>
              <a:buChar char="•"/>
            </a:pPr>
            <a:r>
              <a:rPr lang="en-US" dirty="0"/>
              <a:t>Insert your text here</a:t>
            </a:r>
          </a:p>
          <a:p>
            <a:pPr marL="290822" indent="-290822">
              <a:spcBef>
                <a:spcPts val="1596"/>
              </a:spcBef>
              <a:buFont typeface="Arial" panose="020B0604020202020204" pitchFamily="34" charset="0"/>
              <a:buChar char="•"/>
            </a:pPr>
            <a:r>
              <a:rPr lang="en-US" dirty="0"/>
              <a:t>Insert your text here</a:t>
            </a:r>
          </a:p>
          <a:p>
            <a:pPr marL="290822" indent="-290822">
              <a:spcBef>
                <a:spcPts val="1596"/>
              </a:spcBef>
              <a:buFont typeface="Arial" panose="020B0604020202020204" pitchFamily="34" charset="0"/>
              <a:buChar char="•"/>
            </a:pPr>
            <a:r>
              <a:rPr lang="en-US" dirty="0"/>
              <a:t>Insert your text here</a:t>
            </a:r>
          </a:p>
          <a:p>
            <a:pPr marL="290822" indent="-290822">
              <a:spcBef>
                <a:spcPts val="1596"/>
              </a:spcBef>
              <a:buFont typeface="Arial" panose="020B0604020202020204" pitchFamily="34" charset="0"/>
              <a:buChar char="•"/>
            </a:pPr>
            <a:r>
              <a:rPr lang="en-US" dirty="0"/>
              <a:t>Insert your text here</a:t>
            </a:r>
          </a:p>
          <a:p>
            <a:pPr marL="290822" indent="-290822">
              <a:spcBef>
                <a:spcPts val="1596"/>
              </a:spcBef>
              <a:buFont typeface="Arial" panose="020B0604020202020204" pitchFamily="34" charset="0"/>
              <a:buChar char="•"/>
            </a:pPr>
            <a:r>
              <a:rPr lang="en-US" dirty="0"/>
              <a:t>Insert your text here</a:t>
            </a:r>
          </a:p>
        </p:txBody>
      </p:sp>
    </p:spTree>
    <p:extLst>
      <p:ext uri="{BB962C8B-B14F-4D97-AF65-F5344CB8AC3E}">
        <p14:creationId xmlns:p14="http://schemas.microsoft.com/office/powerpoint/2010/main" val="31520766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3902"/>
      </a:accent1>
      <a:accent2>
        <a:srgbClr val="FF8007"/>
      </a:accent2>
      <a:accent3>
        <a:srgbClr val="FFB404"/>
      </a:accent3>
      <a:accent4>
        <a:srgbClr val="05BADD"/>
      </a:accent4>
      <a:accent5>
        <a:srgbClr val="2B4871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719</TotalTime>
  <Words>43</Words>
  <Application>Microsoft Office PowerPoint</Application>
  <PresentationFormat>Widescreen</PresentationFormat>
  <Paragraphs>1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Idea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822</cp:revision>
  <dcterms:created xsi:type="dcterms:W3CDTF">2021-03-31T02:49:57Z</dcterms:created>
  <dcterms:modified xsi:type="dcterms:W3CDTF">2025-10-15T03:43:22Z</dcterms:modified>
  <cp:category/>
</cp:coreProperties>
</file>